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52A7A6-DE51-9F05-4ED3-027834457076}" v="3" dt="2022-07-06T09:23:55.627"/>
    <p1510:client id="{747C4896-E628-4F31-3F2D-A6B623C449B5}" v="141" dt="2022-07-06T09:30:02.280"/>
    <p1510:client id="{80239ED2-D262-46FA-909B-4E0D4095C6CA}" v="18" dt="2022-07-26T06:03:36.986"/>
    <p1510:client id="{EB163B5D-A9C8-4FC1-9B13-829BB2ED054C}" v="1" dt="2022-07-08T04:05:57.5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-96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 vert="horz" lIns="0" tIns="0" rIns="0" bIns="0" rtlCol="0" anchor="t"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Shopping Cart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MEA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dleware and frontend to polish my skills to work on real –time projects. </a:t>
            </a:r>
          </a:p>
          <a:p>
            <a:pPr algn="just">
              <a:lnSpc>
                <a:spcPct val="113999"/>
              </a:lnSpc>
            </a:pPr>
            <a:r>
              <a:rPr lang="en-IN" altLang="en-US" sz="1050" b="1" dirty="0">
                <a:latin typeface="Arial"/>
                <a:cs typeface="Arial"/>
              </a:rPr>
              <a:t>3. Driver's Drowsiness Detection System using Python</a:t>
            </a:r>
          </a:p>
          <a:p>
            <a:pPr algn="just">
              <a:lnSpc>
                <a:spcPct val="113999"/>
              </a:lnSpc>
            </a:pPr>
            <a:r>
              <a:rPr lang="en-IN" altLang="en-US" sz="1050" dirty="0">
                <a:latin typeface="Arial"/>
                <a:cs typeface="Arial"/>
              </a:rPr>
              <a:t>Developed an AI base project using Python language with help of OpenCV &amp; </a:t>
            </a:r>
            <a:r>
              <a:rPr lang="en-IN" altLang="en-US" sz="1050" dirty="0" err="1">
                <a:latin typeface="Arial"/>
                <a:cs typeface="Arial"/>
              </a:rPr>
              <a:t>Keras</a:t>
            </a:r>
            <a:r>
              <a:rPr lang="en-IN" altLang="en-US" sz="1050" dirty="0">
                <a:latin typeface="Arial"/>
                <a:cs typeface="Arial"/>
              </a:rPr>
              <a:t> library.</a:t>
            </a:r>
          </a:p>
          <a:p>
            <a:pPr algn="just">
              <a:lnSpc>
                <a:spcPct val="113999"/>
              </a:lnSpc>
            </a:pPr>
            <a:r>
              <a:rPr lang="en-IN" altLang="en-US" sz="1050" b="1" dirty="0">
                <a:latin typeface="Arial"/>
                <a:cs typeface="Arial"/>
              </a:rPr>
              <a:t>4. AWS Cloud Practitioner Certified.</a:t>
            </a:r>
          </a:p>
          <a:p>
            <a:pPr algn="just">
              <a:lnSpc>
                <a:spcPct val="113999"/>
              </a:lnSpc>
            </a:pPr>
            <a:r>
              <a:rPr lang="en-IN" altLang="en-US" sz="1050" b="1" dirty="0">
                <a:latin typeface="Arial"/>
                <a:cs typeface="Arial"/>
              </a:rPr>
              <a:t>5. GCP(Cloud Digital Leader) Certified.</a:t>
            </a:r>
          </a:p>
          <a:p>
            <a:pPr algn="just">
              <a:lnSpc>
                <a:spcPct val="113999"/>
              </a:lnSpc>
            </a:pPr>
            <a:endParaRPr lang="en-IN" altLang="en-US" sz="1050" dirty="0">
              <a:latin typeface="Arial"/>
              <a:cs typeface="Arial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>
              <a:lnSpc>
                <a:spcPct val="114000"/>
              </a:lnSpc>
            </a:pPr>
            <a:endParaRPr lang="en-IN" altLang="en-US" dirty="0">
              <a:solidFill>
                <a:srgbClr val="000000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15680" y="1599605"/>
            <a:ext cx="3699904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himanshu.satyendraprasad-singh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26607" y="1826419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7972568214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in creating microservices with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pringboot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pringSecurity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pi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ateway, Eureka server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orking knowledge on Angular Framework and Java Microservice Development using Spring framework.</a:t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Engineering in  Computer Science 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>
              <a:lnSpc>
                <a:spcPct val="114000"/>
              </a:lnSpc>
            </a:pPr>
            <a:r>
              <a:rPr lang="en-US" altLang="en-US" sz="1000" dirty="0">
                <a:latin typeface="Arial"/>
                <a:cs typeface="Arial"/>
              </a:rPr>
              <a:t>Rest Api's</a:t>
            </a:r>
            <a:endParaRPr lang="en-US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latin typeface="Arial"/>
                <a:cs typeface="Arial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>
                <a:latin typeface="Arial"/>
                <a:cs typeface="Arial"/>
              </a:rPr>
              <a:t>Javascript</a:t>
            </a:r>
            <a:endParaRPr lang="en-US" altLang="nl-NL" sz="1000" dirty="0">
              <a:latin typeface="Arial"/>
              <a:cs typeface="Arial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IN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imanshu</a:t>
            </a:r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 Singh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  <a:latin typeface="Verdana"/>
                <a:ea typeface="Verdana"/>
              </a:rPr>
              <a:t>A4</a:t>
            </a:r>
            <a:endParaRPr lang="nl-NL" altLang="nl-NL" sz="1100" dirty="0">
              <a:solidFill>
                <a:schemeClr val="bg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166A7DF-978D-42DE-8E10-3001BED2B5A3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7261" y="287492"/>
            <a:ext cx="2299551" cy="1932106"/>
          </a:xfrm>
        </p:spPr>
      </p:pic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CB5F30AC-D3CB-EB09-F25B-FC0837E59E8B}"/>
              </a:ext>
            </a:extLst>
          </p:cNvPr>
          <p:cNvSpPr txBox="1">
            <a:spLocks/>
          </p:cNvSpPr>
          <p:nvPr/>
        </p:nvSpPr>
        <p:spPr bwMode="white">
          <a:xfrm>
            <a:off x="3677867" y="1351359"/>
            <a:ext cx="2606551" cy="269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altLang="nl-NL" dirty="0"/>
              <a:t>Mumbai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0C27ED-CF60-4E2D-AC95-A28B89F22A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ffb6ef-0000-48aa-9041-fb29fcb198e5"/>
    <ds:schemaRef ds:uri="900c2a09-0d28-449b-b8ad-3e76d664ec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2006/documentManagement/types"/>
    <ds:schemaRef ds:uri="fd33c62d-2c11-46e7-88a2-e90fa986d9d0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7da6acf-edf2-43bc-9595-f721a214a14e"/>
    <ds:schemaRef ds:uri="e0ffb6ef-0000-48aa-9041-fb29fcb198e5"/>
    <ds:schemaRef ds:uri="900c2a09-0d28-449b-b8ad-3e76d664ec44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244</TotalTime>
  <Words>296</Words>
  <Application>Microsoft Office PowerPoint</Application>
  <PresentationFormat>Widescreen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ingh, Himanshu</cp:lastModifiedBy>
  <cp:revision>162</cp:revision>
  <dcterms:created xsi:type="dcterms:W3CDTF">2017-12-08T05:27:40Z</dcterms:created>
  <dcterms:modified xsi:type="dcterms:W3CDTF">2023-01-05T11:1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